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-684" y="-102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=""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=""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=""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=""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=""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0179701"/>
              </p:ext>
            </p:extLst>
          </p:nvPr>
        </p:nvGraphicFramePr>
        <p:xfrm>
          <a:off x="539750" y="1254424"/>
          <a:ext cx="11079995" cy="52256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29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351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1337"/>
                <a:gridCol w="2153536"/>
                <a:gridCol w="2153536"/>
                <a:gridCol w="2153536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电话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试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805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54040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576</Words>
  <Application>Microsoft Office PowerPoint</Application>
  <PresentationFormat>自定义</PresentationFormat>
  <Paragraphs>158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3</cp:revision>
  <dcterms:created xsi:type="dcterms:W3CDTF">2022-02-15T07:41:51Z</dcterms:created>
  <dcterms:modified xsi:type="dcterms:W3CDTF">2022-04-01T16:10:09Z</dcterms:modified>
</cp:coreProperties>
</file>